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  <p:sldMasterId id="2147484498" r:id="rId8"/>
  </p:sldMasterIdLst>
  <p:notesMasterIdLst>
    <p:notesMasterId r:id="rId30"/>
  </p:notesMasterIdLst>
  <p:handoutMasterIdLst>
    <p:handoutMasterId r:id="rId31"/>
  </p:handoutMasterIdLst>
  <p:sldIdLst>
    <p:sldId id="332" r:id="rId9"/>
    <p:sldId id="341" r:id="rId10"/>
    <p:sldId id="342" r:id="rId11"/>
    <p:sldId id="357" r:id="rId12"/>
    <p:sldId id="358" r:id="rId13"/>
    <p:sldId id="343" r:id="rId14"/>
    <p:sldId id="359" r:id="rId15"/>
    <p:sldId id="344" r:id="rId16"/>
    <p:sldId id="360" r:id="rId17"/>
    <p:sldId id="345" r:id="rId18"/>
    <p:sldId id="361" r:id="rId19"/>
    <p:sldId id="362" r:id="rId20"/>
    <p:sldId id="346" r:id="rId21"/>
    <p:sldId id="348" r:id="rId22"/>
    <p:sldId id="349" r:id="rId23"/>
    <p:sldId id="350" r:id="rId24"/>
    <p:sldId id="364" r:id="rId25"/>
    <p:sldId id="365" r:id="rId26"/>
    <p:sldId id="351" r:id="rId27"/>
    <p:sldId id="363" r:id="rId28"/>
    <p:sldId id="340" r:id="rId29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  <p14:sldId id="357"/>
            <p14:sldId id="358"/>
            <p14:sldId id="343"/>
            <p14:sldId id="359"/>
            <p14:sldId id="344"/>
            <p14:sldId id="360"/>
            <p14:sldId id="345"/>
            <p14:sldId id="361"/>
            <p14:sldId id="362"/>
            <p14:sldId id="346"/>
            <p14:sldId id="348"/>
            <p14:sldId id="349"/>
            <p14:sldId id="350"/>
            <p14:sldId id="364"/>
            <p14:sldId id="365"/>
            <p14:sldId id="351"/>
            <p14:sldId id="363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9E7E"/>
    <a:srgbClr val="E4E4E4"/>
    <a:srgbClr val="202020"/>
    <a:srgbClr val="01557E"/>
    <a:srgbClr val="FD7D7B"/>
    <a:srgbClr val="9078FC"/>
    <a:srgbClr val="F5F5F5"/>
    <a:srgbClr val="00FFFD"/>
    <a:srgbClr val="00FFA4"/>
    <a:srgbClr val="838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421" autoAdjust="0"/>
    <p:restoredTop sz="96323" autoAdjust="0"/>
  </p:normalViewPr>
  <p:slideViewPr>
    <p:cSldViewPr>
      <p:cViewPr varScale="1">
        <p:scale>
          <a:sx n="61" d="100"/>
          <a:sy n="61" d="100"/>
        </p:scale>
        <p:origin x="592" y="56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35F3F7-94C0-41F1-BD4D-0ED814AF9566}" type="doc">
      <dgm:prSet loTypeId="urn:microsoft.com/office/officeart/2005/8/layout/hProcess9" loCatId="process" qsTypeId="urn:microsoft.com/office/officeart/2005/8/quickstyle/simple1" qsCatId="simple" csTypeId="urn:microsoft.com/office/officeart/2005/8/colors/colorful5" csCatId="colorful" phldr="1"/>
      <dgm:spPr/>
    </dgm:pt>
    <dgm:pt modelId="{1C2CB332-1AE1-492F-BC05-12BC40F08928}">
      <dgm:prSet phldrT="[Text]"/>
      <dgm:spPr/>
      <dgm:t>
        <a:bodyPr/>
        <a:lstStyle/>
        <a:p>
          <a:r>
            <a:rPr lang="es-ES" dirty="0" err="1" smtClean="0"/>
            <a:t>Presets</a:t>
          </a:r>
          <a:endParaRPr lang="en-US" dirty="0"/>
        </a:p>
      </dgm:t>
    </dgm:pt>
    <dgm:pt modelId="{6CBF449C-426E-489E-9857-97DB7982E476}" type="parTrans" cxnId="{7761C93A-1FF5-4461-8534-CFFDA9155D02}">
      <dgm:prSet/>
      <dgm:spPr/>
      <dgm:t>
        <a:bodyPr/>
        <a:lstStyle/>
        <a:p>
          <a:endParaRPr lang="en-US"/>
        </a:p>
      </dgm:t>
    </dgm:pt>
    <dgm:pt modelId="{A0DCC79E-DDC6-47EB-97C7-A39C2E0F8950}" type="sibTrans" cxnId="{7761C93A-1FF5-4461-8534-CFFDA9155D02}">
      <dgm:prSet/>
      <dgm:spPr/>
      <dgm:t>
        <a:bodyPr/>
        <a:lstStyle/>
        <a:p>
          <a:endParaRPr lang="en-US"/>
        </a:p>
      </dgm:t>
    </dgm:pt>
    <dgm:pt modelId="{3BB12CD7-DCFD-4FA2-B4F0-C36617A8EF48}">
      <dgm:prSet phldrT="[Text]"/>
      <dgm:spPr/>
      <dgm:t>
        <a:bodyPr/>
        <a:lstStyle/>
        <a:p>
          <a:r>
            <a:rPr lang="es-ES" dirty="0" smtClean="0"/>
            <a:t>Niveles</a:t>
          </a:r>
          <a:endParaRPr lang="en-US" dirty="0"/>
        </a:p>
      </dgm:t>
    </dgm:pt>
    <dgm:pt modelId="{18BB7319-A1F8-4CB9-B670-165103D827D3}" type="parTrans" cxnId="{C098B8F2-1350-432F-98C4-3975FCAC080F}">
      <dgm:prSet/>
      <dgm:spPr/>
      <dgm:t>
        <a:bodyPr/>
        <a:lstStyle/>
        <a:p>
          <a:endParaRPr lang="en-US"/>
        </a:p>
      </dgm:t>
    </dgm:pt>
    <dgm:pt modelId="{A2E312B1-A22F-442C-AB72-4DFCAA8FB1BE}" type="sibTrans" cxnId="{C098B8F2-1350-432F-98C4-3975FCAC080F}">
      <dgm:prSet/>
      <dgm:spPr/>
      <dgm:t>
        <a:bodyPr/>
        <a:lstStyle/>
        <a:p>
          <a:endParaRPr lang="en-US"/>
        </a:p>
      </dgm:t>
    </dgm:pt>
    <dgm:pt modelId="{0B60CBD6-D03B-41EA-B90D-107C5D427E49}">
      <dgm:prSet phldrT="[Text]"/>
      <dgm:spPr/>
      <dgm:t>
        <a:bodyPr/>
        <a:lstStyle/>
        <a:p>
          <a:r>
            <a:rPr lang="es-ES" dirty="0" smtClean="0"/>
            <a:t>…</a:t>
          </a:r>
          <a:endParaRPr lang="en-US" dirty="0"/>
        </a:p>
      </dgm:t>
    </dgm:pt>
    <dgm:pt modelId="{EE3F7EA7-E82F-4512-83FA-DFEEA64B10D6}" type="parTrans" cxnId="{37A9D0C2-9283-4B20-99DF-AF96F439E115}">
      <dgm:prSet/>
      <dgm:spPr/>
      <dgm:t>
        <a:bodyPr/>
        <a:lstStyle/>
        <a:p>
          <a:endParaRPr lang="en-US"/>
        </a:p>
      </dgm:t>
    </dgm:pt>
    <dgm:pt modelId="{04E3027C-D80A-4484-806F-DCA58C9BBE5A}" type="sibTrans" cxnId="{37A9D0C2-9283-4B20-99DF-AF96F439E115}">
      <dgm:prSet/>
      <dgm:spPr/>
      <dgm:t>
        <a:bodyPr/>
        <a:lstStyle/>
        <a:p>
          <a:endParaRPr lang="en-US"/>
        </a:p>
      </dgm:t>
    </dgm:pt>
    <dgm:pt modelId="{C123ABAA-EE4F-4E71-A4B2-4338BA0E5878}">
      <dgm:prSet phldrT="[Text]"/>
      <dgm:spPr/>
      <dgm:t>
        <a:bodyPr/>
        <a:lstStyle/>
        <a:p>
          <a:r>
            <a:rPr lang="es-ES" dirty="0" smtClean="0"/>
            <a:t>Librería grafica</a:t>
          </a:r>
          <a:endParaRPr lang="en-US" dirty="0"/>
        </a:p>
      </dgm:t>
    </dgm:pt>
    <dgm:pt modelId="{AAE38A5A-5517-4A25-AEA1-674B0ACFE543}" type="parTrans" cxnId="{F95A53AF-08D5-49D3-BCF7-D82D28E6F130}">
      <dgm:prSet/>
      <dgm:spPr/>
      <dgm:t>
        <a:bodyPr/>
        <a:lstStyle/>
        <a:p>
          <a:endParaRPr lang="en-US"/>
        </a:p>
      </dgm:t>
    </dgm:pt>
    <dgm:pt modelId="{549AA405-E7D0-475A-A6F7-6283BEE5E451}" type="sibTrans" cxnId="{F95A53AF-08D5-49D3-BCF7-D82D28E6F130}">
      <dgm:prSet/>
      <dgm:spPr/>
      <dgm:t>
        <a:bodyPr/>
        <a:lstStyle/>
        <a:p>
          <a:endParaRPr lang="en-US"/>
        </a:p>
      </dgm:t>
    </dgm:pt>
    <dgm:pt modelId="{CF86B602-F8C9-4392-A9AC-D90E93D81D62}">
      <dgm:prSet phldrT="[Text]"/>
      <dgm:spPr/>
      <dgm:t>
        <a:bodyPr/>
        <a:lstStyle/>
        <a:p>
          <a:r>
            <a:rPr lang="en-US" dirty="0" err="1" smtClean="0"/>
            <a:t>Fisica</a:t>
          </a:r>
          <a:endParaRPr lang="en-US" dirty="0"/>
        </a:p>
      </dgm:t>
    </dgm:pt>
    <dgm:pt modelId="{D32FD086-DD1E-4EBF-91EA-E729E7D2A873}" type="parTrans" cxnId="{D2E085F1-E506-477F-AFE2-B1FC39945333}">
      <dgm:prSet/>
      <dgm:spPr/>
      <dgm:t>
        <a:bodyPr/>
        <a:lstStyle/>
        <a:p>
          <a:endParaRPr lang="es-ES"/>
        </a:p>
      </dgm:t>
    </dgm:pt>
    <dgm:pt modelId="{ABC8AEBB-E9ED-405F-B954-3A6703CD295C}" type="sibTrans" cxnId="{D2E085F1-E506-477F-AFE2-B1FC39945333}">
      <dgm:prSet/>
      <dgm:spPr/>
      <dgm:t>
        <a:bodyPr/>
        <a:lstStyle/>
        <a:p>
          <a:endParaRPr lang="es-ES"/>
        </a:p>
      </dgm:t>
    </dgm:pt>
    <dgm:pt modelId="{AF8DE529-53B5-443A-9618-C4A5B2B1C592}">
      <dgm:prSet phldrT="[Text]"/>
      <dgm:spPr/>
      <dgm:t>
        <a:bodyPr/>
        <a:lstStyle/>
        <a:p>
          <a:r>
            <a:rPr lang="en-US" dirty="0" err="1" smtClean="0"/>
            <a:t>Interacción</a:t>
          </a:r>
          <a:r>
            <a:rPr lang="en-US" dirty="0" smtClean="0"/>
            <a:t> Sistema </a:t>
          </a:r>
          <a:r>
            <a:rPr lang="en-US" dirty="0" err="1" smtClean="0"/>
            <a:t>Operativo</a:t>
          </a:r>
          <a:endParaRPr lang="en-US" dirty="0"/>
        </a:p>
      </dgm:t>
    </dgm:pt>
    <dgm:pt modelId="{89545483-0193-4350-B7D3-CAE1189503B4}" type="parTrans" cxnId="{787B2570-C401-4E86-B02C-A0DFC5F11810}">
      <dgm:prSet/>
      <dgm:spPr/>
      <dgm:t>
        <a:bodyPr/>
        <a:lstStyle/>
        <a:p>
          <a:endParaRPr lang="es-ES"/>
        </a:p>
      </dgm:t>
    </dgm:pt>
    <dgm:pt modelId="{7C54D80B-A1AF-47A5-A970-3507BD47A78D}" type="sibTrans" cxnId="{787B2570-C401-4E86-B02C-A0DFC5F11810}">
      <dgm:prSet/>
      <dgm:spPr/>
      <dgm:t>
        <a:bodyPr/>
        <a:lstStyle/>
        <a:p>
          <a:endParaRPr lang="es-ES"/>
        </a:p>
      </dgm:t>
    </dgm:pt>
    <dgm:pt modelId="{8CD024D9-9F63-4B95-A620-9A3E8DEE4CD3}" type="pres">
      <dgm:prSet presAssocID="{B635F3F7-94C0-41F1-BD4D-0ED814AF9566}" presName="CompostProcess" presStyleCnt="0">
        <dgm:presLayoutVars>
          <dgm:dir/>
          <dgm:resizeHandles val="exact"/>
        </dgm:presLayoutVars>
      </dgm:prSet>
      <dgm:spPr/>
    </dgm:pt>
    <dgm:pt modelId="{735DB263-84AC-4C52-8135-E46349F23DE6}" type="pres">
      <dgm:prSet presAssocID="{B635F3F7-94C0-41F1-BD4D-0ED814AF9566}" presName="arrow" presStyleLbl="bgShp" presStyleIdx="0" presStyleCnt="1" custLinFactNeighborX="22778" custLinFactNeighborY="-5555"/>
      <dgm:spPr>
        <a:solidFill>
          <a:schemeClr val="bg1">
            <a:lumMod val="75000"/>
            <a:lumOff val="25000"/>
          </a:schemeClr>
        </a:solidFill>
      </dgm:spPr>
    </dgm:pt>
    <dgm:pt modelId="{2AF5AEAA-6C41-4605-BBBA-4EAA0C947449}" type="pres">
      <dgm:prSet presAssocID="{B635F3F7-94C0-41F1-BD4D-0ED814AF9566}" presName="linearProcess" presStyleCnt="0"/>
      <dgm:spPr/>
    </dgm:pt>
    <dgm:pt modelId="{C67DA9F5-DA1B-4FCE-9F83-FC6A862659F5}" type="pres">
      <dgm:prSet presAssocID="{1C2CB332-1AE1-492F-BC05-12BC40F08928}" presName="textNode" presStyleLbl="node1" presStyleIdx="0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7F6E1377-B936-4454-9B7C-E4F0C4FBE11E}" type="pres">
      <dgm:prSet presAssocID="{A0DCC79E-DDC6-47EB-97C7-A39C2E0F8950}" presName="sibTrans" presStyleCnt="0"/>
      <dgm:spPr/>
    </dgm:pt>
    <dgm:pt modelId="{DD35A28A-AAEB-4533-86D4-62F1880B2CC3}" type="pres">
      <dgm:prSet presAssocID="{3BB12CD7-DCFD-4FA2-B4F0-C36617A8EF48}" presName="textNode" presStyleLbl="node1" presStyleIdx="1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677F228F-AED7-44D6-93CD-949E4D223230}" type="pres">
      <dgm:prSet presAssocID="{A2E312B1-A22F-442C-AB72-4DFCAA8FB1BE}" presName="sibTrans" presStyleCnt="0"/>
      <dgm:spPr/>
    </dgm:pt>
    <dgm:pt modelId="{149E12C7-4692-4122-A5FE-F2665B997D51}" type="pres">
      <dgm:prSet presAssocID="{CF86B602-F8C9-4392-A9AC-D90E93D81D62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E2A37D4-E073-4DCE-925F-5D98E0DA2ADB}" type="pres">
      <dgm:prSet presAssocID="{ABC8AEBB-E9ED-405F-B954-3A6703CD295C}" presName="sibTrans" presStyleCnt="0"/>
      <dgm:spPr/>
    </dgm:pt>
    <dgm:pt modelId="{88FAC6B2-8882-4F60-9ED2-6C4D6802B98E}" type="pres">
      <dgm:prSet presAssocID="{AF8DE529-53B5-443A-9618-C4A5B2B1C592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5AEC32D-EC5D-40B5-9AE9-996A519564F6}" type="pres">
      <dgm:prSet presAssocID="{7C54D80B-A1AF-47A5-A970-3507BD47A78D}" presName="sibTrans" presStyleCnt="0"/>
      <dgm:spPr/>
    </dgm:pt>
    <dgm:pt modelId="{27D383B3-344A-4AC8-8F9F-37233CA15943}" type="pres">
      <dgm:prSet presAssocID="{0B60CBD6-D03B-41EA-B90D-107C5D427E49}" presName="textNode" presStyleLbl="node1" presStyleIdx="4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EA053AB5-3AA7-4E4B-ACF7-C7344448CB45}" type="pres">
      <dgm:prSet presAssocID="{04E3027C-D80A-4484-806F-DCA58C9BBE5A}" presName="sibTrans" presStyleCnt="0"/>
      <dgm:spPr/>
    </dgm:pt>
    <dgm:pt modelId="{9AF8BADF-C598-424E-A74F-F90B5B88362C}" type="pres">
      <dgm:prSet presAssocID="{C123ABAA-EE4F-4E71-A4B2-4338BA0E5878}" presName="textNode" presStyleLbl="node1" presStyleIdx="5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</dgm:ptLst>
  <dgm:cxnLst>
    <dgm:cxn modelId="{787B2570-C401-4E86-B02C-A0DFC5F11810}" srcId="{B635F3F7-94C0-41F1-BD4D-0ED814AF9566}" destId="{AF8DE529-53B5-443A-9618-C4A5B2B1C592}" srcOrd="3" destOrd="0" parTransId="{89545483-0193-4350-B7D3-CAE1189503B4}" sibTransId="{7C54D80B-A1AF-47A5-A970-3507BD47A78D}"/>
    <dgm:cxn modelId="{D2E085F1-E506-477F-AFE2-B1FC39945333}" srcId="{B635F3F7-94C0-41F1-BD4D-0ED814AF9566}" destId="{CF86B602-F8C9-4392-A9AC-D90E93D81D62}" srcOrd="2" destOrd="0" parTransId="{D32FD086-DD1E-4EBF-91EA-E729E7D2A873}" sibTransId="{ABC8AEBB-E9ED-405F-B954-3A6703CD295C}"/>
    <dgm:cxn modelId="{F95A53AF-08D5-49D3-BCF7-D82D28E6F130}" srcId="{B635F3F7-94C0-41F1-BD4D-0ED814AF9566}" destId="{C123ABAA-EE4F-4E71-A4B2-4338BA0E5878}" srcOrd="5" destOrd="0" parTransId="{AAE38A5A-5517-4A25-AEA1-674B0ACFE543}" sibTransId="{549AA405-E7D0-475A-A6F7-6283BEE5E451}"/>
    <dgm:cxn modelId="{37A9D0C2-9283-4B20-99DF-AF96F439E115}" srcId="{B635F3F7-94C0-41F1-BD4D-0ED814AF9566}" destId="{0B60CBD6-D03B-41EA-B90D-107C5D427E49}" srcOrd="4" destOrd="0" parTransId="{EE3F7EA7-E82F-4512-83FA-DFEEA64B10D6}" sibTransId="{04E3027C-D80A-4484-806F-DCA58C9BBE5A}"/>
    <dgm:cxn modelId="{9FCE681B-3718-43DD-991F-75FF1423FA52}" type="presOf" srcId="{1C2CB332-1AE1-492F-BC05-12BC40F08928}" destId="{C67DA9F5-DA1B-4FCE-9F83-FC6A862659F5}" srcOrd="0" destOrd="0" presId="urn:microsoft.com/office/officeart/2005/8/layout/hProcess9"/>
    <dgm:cxn modelId="{7249A395-B44B-4AF7-AFB8-C26BEE0CE520}" type="presOf" srcId="{CF86B602-F8C9-4392-A9AC-D90E93D81D62}" destId="{149E12C7-4692-4122-A5FE-F2665B997D51}" srcOrd="0" destOrd="0" presId="urn:microsoft.com/office/officeart/2005/8/layout/hProcess9"/>
    <dgm:cxn modelId="{C098B8F2-1350-432F-98C4-3975FCAC080F}" srcId="{B635F3F7-94C0-41F1-BD4D-0ED814AF9566}" destId="{3BB12CD7-DCFD-4FA2-B4F0-C36617A8EF48}" srcOrd="1" destOrd="0" parTransId="{18BB7319-A1F8-4CB9-B670-165103D827D3}" sibTransId="{A2E312B1-A22F-442C-AB72-4DFCAA8FB1BE}"/>
    <dgm:cxn modelId="{7E6EB17E-1F23-41E7-953F-08B39DD0D3F5}" type="presOf" srcId="{B635F3F7-94C0-41F1-BD4D-0ED814AF9566}" destId="{8CD024D9-9F63-4B95-A620-9A3E8DEE4CD3}" srcOrd="0" destOrd="0" presId="urn:microsoft.com/office/officeart/2005/8/layout/hProcess9"/>
    <dgm:cxn modelId="{0D6B8508-F026-410E-8847-5F18CDF7A9B6}" type="presOf" srcId="{C123ABAA-EE4F-4E71-A4B2-4338BA0E5878}" destId="{9AF8BADF-C598-424E-A74F-F90B5B88362C}" srcOrd="0" destOrd="0" presId="urn:microsoft.com/office/officeart/2005/8/layout/hProcess9"/>
    <dgm:cxn modelId="{A0AFA3CF-FCD3-480A-9452-DEDB5B76CE0B}" type="presOf" srcId="{3BB12CD7-DCFD-4FA2-B4F0-C36617A8EF48}" destId="{DD35A28A-AAEB-4533-86D4-62F1880B2CC3}" srcOrd="0" destOrd="0" presId="urn:microsoft.com/office/officeart/2005/8/layout/hProcess9"/>
    <dgm:cxn modelId="{D7E64318-A347-4A6E-ADFA-668080F5217B}" type="presOf" srcId="{0B60CBD6-D03B-41EA-B90D-107C5D427E49}" destId="{27D383B3-344A-4AC8-8F9F-37233CA15943}" srcOrd="0" destOrd="0" presId="urn:microsoft.com/office/officeart/2005/8/layout/hProcess9"/>
    <dgm:cxn modelId="{7761C93A-1FF5-4461-8534-CFFDA9155D02}" srcId="{B635F3F7-94C0-41F1-BD4D-0ED814AF9566}" destId="{1C2CB332-1AE1-492F-BC05-12BC40F08928}" srcOrd="0" destOrd="0" parTransId="{6CBF449C-426E-489E-9857-97DB7982E476}" sibTransId="{A0DCC79E-DDC6-47EB-97C7-A39C2E0F8950}"/>
    <dgm:cxn modelId="{612D475B-E299-4393-BF15-F74A5F384CBA}" type="presOf" srcId="{AF8DE529-53B5-443A-9618-C4A5B2B1C592}" destId="{88FAC6B2-8882-4F60-9ED2-6C4D6802B98E}" srcOrd="0" destOrd="0" presId="urn:microsoft.com/office/officeart/2005/8/layout/hProcess9"/>
    <dgm:cxn modelId="{E69E613F-9AF4-4457-8BB6-73F51135FC70}" type="presParOf" srcId="{8CD024D9-9F63-4B95-A620-9A3E8DEE4CD3}" destId="{735DB263-84AC-4C52-8135-E46349F23DE6}" srcOrd="0" destOrd="0" presId="urn:microsoft.com/office/officeart/2005/8/layout/hProcess9"/>
    <dgm:cxn modelId="{D0AEE9DE-D9AE-4A08-A774-7ACFF9CF629C}" type="presParOf" srcId="{8CD024D9-9F63-4B95-A620-9A3E8DEE4CD3}" destId="{2AF5AEAA-6C41-4605-BBBA-4EAA0C947449}" srcOrd="1" destOrd="0" presId="urn:microsoft.com/office/officeart/2005/8/layout/hProcess9"/>
    <dgm:cxn modelId="{11F4B0C0-9666-4BC2-86A6-63A62D7D117D}" type="presParOf" srcId="{2AF5AEAA-6C41-4605-BBBA-4EAA0C947449}" destId="{C67DA9F5-DA1B-4FCE-9F83-FC6A862659F5}" srcOrd="0" destOrd="0" presId="urn:microsoft.com/office/officeart/2005/8/layout/hProcess9"/>
    <dgm:cxn modelId="{A96FB9A8-C555-4F0C-BC5D-A86CB6C6ECAA}" type="presParOf" srcId="{2AF5AEAA-6C41-4605-BBBA-4EAA0C947449}" destId="{7F6E1377-B936-4454-9B7C-E4F0C4FBE11E}" srcOrd="1" destOrd="0" presId="urn:microsoft.com/office/officeart/2005/8/layout/hProcess9"/>
    <dgm:cxn modelId="{6B731B59-21C2-43B3-8555-9898F73FF40C}" type="presParOf" srcId="{2AF5AEAA-6C41-4605-BBBA-4EAA0C947449}" destId="{DD35A28A-AAEB-4533-86D4-62F1880B2CC3}" srcOrd="2" destOrd="0" presId="urn:microsoft.com/office/officeart/2005/8/layout/hProcess9"/>
    <dgm:cxn modelId="{C00132A4-F656-42B9-BE95-066511BBF2D8}" type="presParOf" srcId="{2AF5AEAA-6C41-4605-BBBA-4EAA0C947449}" destId="{677F228F-AED7-44D6-93CD-949E4D223230}" srcOrd="3" destOrd="0" presId="urn:microsoft.com/office/officeart/2005/8/layout/hProcess9"/>
    <dgm:cxn modelId="{0538419E-0BD0-4B7D-94CF-CEE692FEA6B3}" type="presParOf" srcId="{2AF5AEAA-6C41-4605-BBBA-4EAA0C947449}" destId="{149E12C7-4692-4122-A5FE-F2665B997D51}" srcOrd="4" destOrd="0" presId="urn:microsoft.com/office/officeart/2005/8/layout/hProcess9"/>
    <dgm:cxn modelId="{BD4C051C-59C2-4037-AF13-7995E3BA2F55}" type="presParOf" srcId="{2AF5AEAA-6C41-4605-BBBA-4EAA0C947449}" destId="{1E2A37D4-E073-4DCE-925F-5D98E0DA2ADB}" srcOrd="5" destOrd="0" presId="urn:microsoft.com/office/officeart/2005/8/layout/hProcess9"/>
    <dgm:cxn modelId="{304EFF99-D07A-49EC-99C9-92BF597D2044}" type="presParOf" srcId="{2AF5AEAA-6C41-4605-BBBA-4EAA0C947449}" destId="{88FAC6B2-8882-4F60-9ED2-6C4D6802B98E}" srcOrd="6" destOrd="0" presId="urn:microsoft.com/office/officeart/2005/8/layout/hProcess9"/>
    <dgm:cxn modelId="{4AE2216D-04E2-487E-A7CA-52F2C833C0DC}" type="presParOf" srcId="{2AF5AEAA-6C41-4605-BBBA-4EAA0C947449}" destId="{65AEC32D-EC5D-40B5-9AE9-996A519564F6}" srcOrd="7" destOrd="0" presId="urn:microsoft.com/office/officeart/2005/8/layout/hProcess9"/>
    <dgm:cxn modelId="{A12FEEA7-6D17-4ADC-9A9F-F0502DD90236}" type="presParOf" srcId="{2AF5AEAA-6C41-4605-BBBA-4EAA0C947449}" destId="{27D383B3-344A-4AC8-8F9F-37233CA15943}" srcOrd="8" destOrd="0" presId="urn:microsoft.com/office/officeart/2005/8/layout/hProcess9"/>
    <dgm:cxn modelId="{C77CA1D8-6761-4A87-9F03-2EE687CD0BCF}" type="presParOf" srcId="{2AF5AEAA-6C41-4605-BBBA-4EAA0C947449}" destId="{EA053AB5-3AA7-4E4B-ACF7-C7344448CB45}" srcOrd="9" destOrd="0" presId="urn:microsoft.com/office/officeart/2005/8/layout/hProcess9"/>
    <dgm:cxn modelId="{1EB26D20-DE6F-488D-BF6B-AD17D2E9B8D9}" type="presParOf" srcId="{2AF5AEAA-6C41-4605-BBBA-4EAA0C947449}" destId="{9AF8BADF-C598-424E-A74F-F90B5B88362C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0/8/2015 10:16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0/8/2015 10:16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10/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7932" y="699452"/>
            <a:ext cx="8161437" cy="3030962"/>
          </a:xfrm>
        </p:spPr>
        <p:txBody>
          <a:bodyPr anchor="b">
            <a:normAutofit/>
          </a:bodyPr>
          <a:lstStyle>
            <a:lvl1pPr algn="l">
              <a:defRPr sz="4896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7932" y="3920389"/>
            <a:ext cx="6529149" cy="1986099"/>
          </a:xfrm>
        </p:spPr>
        <p:txBody>
          <a:bodyPr anchor="t">
            <a:normAutofit/>
          </a:bodyPr>
          <a:lstStyle>
            <a:lvl1pPr marL="0" indent="0" algn="l">
              <a:buNone/>
              <a:defRPr sz="2142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393001" y="8636"/>
            <a:ext cx="3886398" cy="38858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230652" y="93368"/>
            <a:ext cx="6202585" cy="62017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380918" y="233151"/>
            <a:ext cx="5052318" cy="50516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482936" y="32921"/>
            <a:ext cx="4950302" cy="49495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8002744" y="621737"/>
            <a:ext cx="4430493" cy="4429865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851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822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1" y="2046546"/>
            <a:ext cx="8705534" cy="2327021"/>
          </a:xfrm>
        </p:spPr>
        <p:txBody>
          <a:bodyPr anchor="b">
            <a:normAutofit/>
          </a:bodyPr>
          <a:lstStyle>
            <a:lvl1pPr algn="l">
              <a:defRPr sz="3672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3" y="4585300"/>
            <a:ext cx="8705533" cy="1528433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424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7932" y="699453"/>
            <a:ext cx="5036665" cy="3687238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4598" y="699453"/>
            <a:ext cx="5033426" cy="36872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52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573" y="699452"/>
            <a:ext cx="4743025" cy="587734"/>
          </a:xfrm>
        </p:spPr>
        <p:txBody>
          <a:bodyPr anchor="b">
            <a:noAutofit/>
          </a:bodyPr>
          <a:lstStyle>
            <a:lvl1pPr marL="0" indent="0">
              <a:buNone/>
              <a:defRPr sz="2856" b="0">
                <a:solidFill>
                  <a:schemeClr val="tx1"/>
                </a:solidFill>
              </a:defRPr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7932" y="1295822"/>
            <a:ext cx="5036665" cy="3090868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0964" y="699452"/>
            <a:ext cx="4758680" cy="587734"/>
          </a:xfrm>
        </p:spPr>
        <p:txBody>
          <a:bodyPr anchor="b">
            <a:noAutofit/>
          </a:bodyPr>
          <a:lstStyle>
            <a:lvl1pPr marL="0" indent="0">
              <a:buNone/>
              <a:defRPr sz="2856" b="0">
                <a:solidFill>
                  <a:schemeClr val="tx1"/>
                </a:solidFill>
              </a:defRPr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22979" y="1287186"/>
            <a:ext cx="5028028" cy="3090868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45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0350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3170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7081" y="699453"/>
            <a:ext cx="3730943" cy="1398905"/>
          </a:xfrm>
        </p:spPr>
        <p:txBody>
          <a:bodyPr anchor="b">
            <a:normAutofit/>
          </a:bodyPr>
          <a:lstStyle>
            <a:lvl1pPr algn="l">
              <a:defRPr sz="2448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932" y="699453"/>
            <a:ext cx="6062783" cy="5414280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27081" y="2253791"/>
            <a:ext cx="3730943" cy="2132899"/>
          </a:xfrm>
        </p:spPr>
        <p:txBody>
          <a:bodyPr anchor="t">
            <a:normAutofit/>
          </a:bodyPr>
          <a:lstStyle>
            <a:lvl1pPr marL="0" indent="0">
              <a:buNone/>
              <a:defRPr sz="1632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49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7514" y="1476622"/>
            <a:ext cx="6140510" cy="1165754"/>
          </a:xfrm>
        </p:spPr>
        <p:txBody>
          <a:bodyPr anchor="b">
            <a:normAutofit/>
          </a:bodyPr>
          <a:lstStyle>
            <a:lvl1pPr algn="l">
              <a:defRPr sz="2856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08844" y="932603"/>
            <a:ext cx="3346764" cy="4663017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17514" y="2832351"/>
            <a:ext cx="6142129" cy="2089722"/>
          </a:xfrm>
        </p:spPr>
        <p:txBody>
          <a:bodyPr anchor="t">
            <a:normAutofit/>
          </a:bodyPr>
          <a:lstStyle>
            <a:lvl1pPr marL="0" indent="0">
              <a:buNone/>
              <a:defRPr sz="1836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99552" y="544018"/>
            <a:ext cx="11035752" cy="3186395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32738" y="3920388"/>
            <a:ext cx="8470727" cy="466302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32"/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8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256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3" y="699453"/>
            <a:ext cx="10260092" cy="2797810"/>
          </a:xfrm>
        </p:spPr>
        <p:txBody>
          <a:bodyPr anchor="ctr">
            <a:normAutofit/>
          </a:bodyPr>
          <a:lstStyle>
            <a:lvl1pPr algn="l">
              <a:defRPr sz="3264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2" y="4196715"/>
            <a:ext cx="8707152" cy="1917018"/>
          </a:xfrm>
        </p:spPr>
        <p:txBody>
          <a:bodyPr anchor="ctr">
            <a:normAutofit/>
          </a:bodyPr>
          <a:lstStyle>
            <a:lvl1pPr marL="0" indent="0" algn="l">
              <a:buNone/>
              <a:defRPr sz="2040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093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299" y="699453"/>
            <a:ext cx="9327357" cy="2797810"/>
          </a:xfrm>
        </p:spPr>
        <p:txBody>
          <a:bodyPr anchor="ctr">
            <a:normAutofit/>
          </a:bodyPr>
          <a:lstStyle>
            <a:lvl1pPr algn="l">
              <a:defRPr sz="3264" b="0" cap="all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75211" y="3497262"/>
            <a:ext cx="8705533" cy="388585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3" y="4386691"/>
            <a:ext cx="8705533" cy="1718406"/>
          </a:xfrm>
        </p:spPr>
        <p:txBody>
          <a:bodyPr anchor="ctr">
            <a:normAutofit/>
          </a:bodyPr>
          <a:lstStyle>
            <a:lvl1pPr marL="0" indent="0" algn="l">
              <a:buNone/>
              <a:defRPr sz="2040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42476" y="828391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91656" y="2823717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 algn="r"/>
            <a:r>
              <a:rPr lang="en-US" sz="8159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83910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2" y="3497262"/>
            <a:ext cx="8705533" cy="1731191"/>
          </a:xfrm>
        </p:spPr>
        <p:txBody>
          <a:bodyPr anchor="b">
            <a:normAutofit/>
          </a:bodyPr>
          <a:lstStyle>
            <a:lvl1pPr algn="l">
              <a:defRPr sz="3264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1" y="5235166"/>
            <a:ext cx="8707154" cy="877528"/>
          </a:xfrm>
        </p:spPr>
        <p:txBody>
          <a:bodyPr anchor="t">
            <a:normAutofit/>
          </a:bodyPr>
          <a:lstStyle>
            <a:lvl1pPr marL="0" indent="0" algn="l">
              <a:buNone/>
              <a:defRPr sz="2040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846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301" y="699453"/>
            <a:ext cx="9327356" cy="2797810"/>
          </a:xfrm>
        </p:spPr>
        <p:txBody>
          <a:bodyPr anchor="ctr">
            <a:normAutofit/>
          </a:bodyPr>
          <a:lstStyle>
            <a:lvl1pPr algn="l">
              <a:defRPr sz="3264" b="0" cap="all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7932" y="4006741"/>
            <a:ext cx="8705534" cy="10707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48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1" y="5077507"/>
            <a:ext cx="8705534" cy="1036226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42476" y="828391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491656" y="2823717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 algn="r"/>
            <a:r>
              <a:rPr lang="en-US" sz="8159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5933673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933" y="699453"/>
            <a:ext cx="10260092" cy="279781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7932" y="4006741"/>
            <a:ext cx="8705533" cy="85488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48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1" y="4861626"/>
            <a:ext cx="8705534" cy="1252107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bg2">
                    <a:lumMod val="7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07480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485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9369" y="699452"/>
            <a:ext cx="2098655" cy="466301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9552" y="699453"/>
            <a:ext cx="7980071" cy="5414280"/>
          </a:xfrm>
        </p:spPr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466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4361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391588" y="3022326"/>
            <a:ext cx="3041650" cy="327274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7932" y="4576664"/>
            <a:ext cx="8705533" cy="153706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7932" y="699453"/>
            <a:ext cx="8705533" cy="36872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03016" y="6295073"/>
            <a:ext cx="1632287" cy="37239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2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10/8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7932" y="6295073"/>
            <a:ext cx="7695069" cy="37239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2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71004" y="5689529"/>
            <a:ext cx="1165149" cy="6832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64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6517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  <p:sldLayoutId id="2147484503" r:id="rId5"/>
    <p:sldLayoutId id="2147484504" r:id="rId6"/>
    <p:sldLayoutId id="2147484505" r:id="rId7"/>
    <p:sldLayoutId id="2147484506" r:id="rId8"/>
    <p:sldLayoutId id="2147484507" r:id="rId9"/>
    <p:sldLayoutId id="2147484508" r:id="rId10"/>
    <p:sldLayoutId id="2147484509" r:id="rId11"/>
    <p:sldLayoutId id="2147484510" r:id="rId12"/>
    <p:sldLayoutId id="2147484511" r:id="rId13"/>
    <p:sldLayoutId id="2147484512" r:id="rId14"/>
    <p:sldLayoutId id="2147484513" r:id="rId15"/>
    <p:sldLayoutId id="2147484514" r:id="rId16"/>
    <p:sldLayoutId id="2147484515" r:id="rId17"/>
    <p:sldLayoutId id="2147484516" r:id="rId18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66298" rtl="0" eaLnBrk="1" latinLnBrk="0" hangingPunct="1">
        <a:spcBef>
          <a:spcPct val="0"/>
        </a:spcBef>
        <a:buNone/>
        <a:defRPr sz="3672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91436" indent="-291436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4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57735" indent="-291436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36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24033" indent="-291436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32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73757" indent="-174862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40055" indent="-174862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64641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3030939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97237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963535" indent="-233149" algn="l" defTabSz="466298" rtl="0" eaLnBrk="1" latinLnBrk="0" hangingPunct="1">
        <a:spcBef>
          <a:spcPct val="20000"/>
        </a:spcBef>
        <a:spcAft>
          <a:spcPts val="612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28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23.gi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png"/><Relationship Id="rId7" Type="http://schemas.microsoft.com/office/2007/relationships/hdphoto" Target="../media/hdphoto3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29.png"/><Relationship Id="rId4" Type="http://schemas.microsoft.com/office/2007/relationships/hdphoto" Target="../media/hdphoto2.wdp"/><Relationship Id="rId9" Type="http://schemas.microsoft.com/office/2007/relationships/hdphoto" Target="../media/hdphoto4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9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9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1233661" y="1034521"/>
            <a:ext cx="11196624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Videojuegos</a:t>
            </a:r>
          </a:p>
          <a:p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e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n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JavaScript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on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solidFill>
                <a:schemeClr val="tx2">
                  <a:lumMod val="75000"/>
                </a:schemeClr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lockwork.js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856037" y="1910131"/>
            <a:ext cx="2971800" cy="4025531"/>
          </a:xfrm>
          <a:prstGeom prst="rect">
            <a:avLst/>
          </a:prstGeom>
          <a:pattFill prst="horzBrick">
            <a:fgClr>
              <a:srgbClr val="E4E4E4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6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endParaRPr lang="es-ES" sz="36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r>
              <a:rPr lang="es-ES" sz="36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TOR DE</a:t>
            </a:r>
          </a:p>
          <a:p>
            <a:pPr algn="ctr"/>
            <a:r>
              <a:rPr lang="es-ES" sz="36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TERCEROS</a:t>
            </a:r>
            <a:endParaRPr lang="en-US" sz="36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2464" y="1910131"/>
            <a:ext cx="2590800" cy="4101731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dirty="0" smtClean="0"/>
              <a:t>Mi </a:t>
            </a:r>
            <a:r>
              <a:rPr lang="es-ES" sz="2800" b="1" dirty="0" err="1" smtClean="0"/>
              <a:t>codigo</a:t>
            </a:r>
            <a:endParaRPr lang="en-US" sz="2800" b="1" dirty="0"/>
          </a:p>
        </p:txBody>
      </p:sp>
      <p:sp>
        <p:nvSpPr>
          <p:cNvPr id="8" name="Rectangle 7"/>
          <p:cNvSpPr/>
          <p:nvPr/>
        </p:nvSpPr>
        <p:spPr>
          <a:xfrm>
            <a:off x="4084637" y="2201862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0" name="Rectangle 9"/>
          <p:cNvSpPr/>
          <p:nvPr/>
        </p:nvSpPr>
        <p:spPr>
          <a:xfrm>
            <a:off x="4116232" y="3009762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5499410" y="2193246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2" name="Rectangle 11"/>
          <p:cNvSpPr/>
          <p:nvPr/>
        </p:nvSpPr>
        <p:spPr>
          <a:xfrm>
            <a:off x="5499410" y="3022268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5" name="Rectangle 14"/>
          <p:cNvSpPr/>
          <p:nvPr/>
        </p:nvSpPr>
        <p:spPr>
          <a:xfrm>
            <a:off x="7512205" y="1892900"/>
            <a:ext cx="2971800" cy="4025531"/>
          </a:xfrm>
          <a:prstGeom prst="rect">
            <a:avLst/>
          </a:prstGeom>
          <a:pattFill prst="lgGrid">
            <a:fgClr>
              <a:srgbClr val="FFC00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40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endParaRPr lang="es-ES" sz="40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TOR PROPIO</a:t>
            </a:r>
            <a:endParaRPr lang="en-US" sz="40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740805" y="2184631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7" name="Rectangle 16"/>
          <p:cNvSpPr/>
          <p:nvPr/>
        </p:nvSpPr>
        <p:spPr>
          <a:xfrm>
            <a:off x="7772400" y="2992531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8" name="Rectangle 17"/>
          <p:cNvSpPr/>
          <p:nvPr/>
        </p:nvSpPr>
        <p:spPr>
          <a:xfrm>
            <a:off x="9155578" y="2176015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9" name="Rectangle 18"/>
          <p:cNvSpPr/>
          <p:nvPr/>
        </p:nvSpPr>
        <p:spPr>
          <a:xfrm>
            <a:off x="9155578" y="3005037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3319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94237" y="1744662"/>
            <a:ext cx="2971800" cy="2196731"/>
          </a:xfrm>
          <a:prstGeom prst="rect">
            <a:avLst/>
          </a:prstGeom>
          <a:pattFill prst="lgGrid">
            <a:fgClr>
              <a:srgbClr val="FFC00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40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endParaRPr lang="es-ES" sz="40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922837" y="2036393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7" name="Rectangle 16"/>
          <p:cNvSpPr/>
          <p:nvPr/>
        </p:nvSpPr>
        <p:spPr>
          <a:xfrm>
            <a:off x="4954432" y="2844293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8" name="Rectangle 17"/>
          <p:cNvSpPr/>
          <p:nvPr/>
        </p:nvSpPr>
        <p:spPr>
          <a:xfrm>
            <a:off x="6337610" y="2027777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19" name="Rectangle 18"/>
          <p:cNvSpPr/>
          <p:nvPr/>
        </p:nvSpPr>
        <p:spPr>
          <a:xfrm>
            <a:off x="6337610" y="2856799"/>
            <a:ext cx="1066800" cy="533400"/>
          </a:xfrm>
          <a:prstGeom prst="rect">
            <a:avLst/>
          </a:prstGeom>
          <a:pattFill prst="sphere">
            <a:fgClr>
              <a:schemeClr val="bg1">
                <a:lumMod val="85000"/>
              </a:schemeClr>
            </a:fgClr>
            <a:bgClr>
              <a:schemeClr val="accent6">
                <a:lumMod val="75000"/>
              </a:schemeClr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/>
              <a:t>Mi </a:t>
            </a:r>
            <a:r>
              <a:rPr lang="es-ES" b="1" dirty="0" err="1" smtClean="0"/>
              <a:t>codigo</a:t>
            </a:r>
            <a:endParaRPr lang="en-US" b="1" dirty="0"/>
          </a:p>
        </p:txBody>
      </p:sp>
      <p:sp>
        <p:nvSpPr>
          <p:cNvPr id="20" name="Rectangle 19"/>
          <p:cNvSpPr/>
          <p:nvPr/>
        </p:nvSpPr>
        <p:spPr>
          <a:xfrm>
            <a:off x="4694237" y="3942658"/>
            <a:ext cx="2971800" cy="760735"/>
          </a:xfrm>
          <a:prstGeom prst="rect">
            <a:avLst/>
          </a:prstGeom>
          <a:pattFill prst="pct80">
            <a:fgClr>
              <a:srgbClr val="389E7E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ISICA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694896" y="4717727"/>
            <a:ext cx="2971800" cy="760735"/>
          </a:xfrm>
          <a:prstGeom prst="rect">
            <a:avLst/>
          </a:prstGeom>
          <a:pattFill prst="pct60">
            <a:fgClr>
              <a:schemeClr val="tx2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NPU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694237" y="5492796"/>
            <a:ext cx="2971800" cy="760735"/>
          </a:xfrm>
          <a:prstGeom prst="rect">
            <a:avLst/>
          </a:prstGeom>
          <a:pattFill prst="pct5">
            <a:fgClr>
              <a:srgbClr val="FFFF00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0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30632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37" y="2506662"/>
            <a:ext cx="9709335" cy="234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04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7ABC3"/>
            </a:gs>
            <a:gs pos="100000">
              <a:srgbClr val="FCF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SE USA CLOCKWORK.JS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418357494"/>
              </p:ext>
            </p:extLst>
          </p:nvPr>
        </p:nvGraphicFramePr>
        <p:xfrm>
          <a:off x="2027237" y="1668462"/>
          <a:ext cx="8305800" cy="4884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5885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84276"/>
            </a:gs>
            <a:gs pos="100000">
              <a:srgbClr val="FEE78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23037" y="2800011"/>
            <a:ext cx="8705533" cy="1537069"/>
          </a:xfrm>
        </p:spPr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e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3333" t="15557" r="47917" b="8888"/>
          <a:stretch/>
        </p:blipFill>
        <p:spPr>
          <a:xfrm>
            <a:off x="427037" y="601662"/>
            <a:ext cx="5410200" cy="5933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22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6929" y="525462"/>
            <a:ext cx="8705533" cy="1537069"/>
          </a:xfrm>
        </p:spPr>
        <p:txBody>
          <a:bodyPr/>
          <a:lstStyle/>
          <a:p>
            <a:r>
              <a:rPr lang="es-ES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IVEL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4168" t="46296" r="30416" b="30740"/>
          <a:stretch/>
        </p:blipFill>
        <p:spPr>
          <a:xfrm>
            <a:off x="486929" y="2354262"/>
            <a:ext cx="10134600" cy="236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42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32A6D"/>
            </a:gs>
            <a:gs pos="100000">
              <a:srgbClr val="832D9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246168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ITESHEET.J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37" y="1592262"/>
            <a:ext cx="2866946" cy="484392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903583" y="3140939"/>
            <a:ext cx="289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+</a:t>
            </a:r>
            <a:endParaRPr lang="en-US" sz="8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885237" y="3040062"/>
            <a:ext cx="289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=</a:t>
            </a:r>
            <a:endParaRPr lang="en-US" sz="8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17917" t="24074" r="37500" b="7777"/>
          <a:stretch/>
        </p:blipFill>
        <p:spPr>
          <a:xfrm>
            <a:off x="4770437" y="2164358"/>
            <a:ext cx="3810828" cy="32766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5678" y="2506662"/>
            <a:ext cx="1676400" cy="222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8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75037" y="2735262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smtClean="0"/>
              <a:t>Demo time!</a:t>
            </a:r>
            <a:endParaRPr lang="es-ES" sz="6600" dirty="0"/>
          </a:p>
        </p:txBody>
      </p:sp>
    </p:spTree>
    <p:extLst>
      <p:ext uri="{BB962C8B-B14F-4D97-AF65-F5344CB8AC3E}">
        <p14:creationId xmlns:p14="http://schemas.microsoft.com/office/powerpoint/2010/main" val="2624994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94237" y="625310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err="1" smtClean="0"/>
              <a:t>Composición</a:t>
            </a:r>
            <a:endParaRPr lang="es-ES" sz="6600" dirty="0"/>
          </a:p>
        </p:txBody>
      </p:sp>
      <p:sp>
        <p:nvSpPr>
          <p:cNvPr id="3" name="TextBox 2"/>
          <p:cNvSpPr txBox="1"/>
          <p:nvPr/>
        </p:nvSpPr>
        <p:spPr>
          <a:xfrm>
            <a:off x="1493837" y="601662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smtClean="0"/>
              <a:t>3D</a:t>
            </a:r>
            <a:endParaRPr lang="es-ES" sz="6600" dirty="0"/>
          </a:p>
        </p:txBody>
      </p:sp>
      <p:sp>
        <p:nvSpPr>
          <p:cNvPr id="4" name="TextBox 3"/>
          <p:cNvSpPr txBox="1"/>
          <p:nvPr/>
        </p:nvSpPr>
        <p:spPr>
          <a:xfrm>
            <a:off x="2332037" y="2269288"/>
            <a:ext cx="10591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err="1" smtClean="0"/>
              <a:t>Integración</a:t>
            </a:r>
            <a:r>
              <a:rPr lang="en-US" sz="6600" dirty="0" smtClean="0"/>
              <a:t> con SO</a:t>
            </a:r>
            <a:endParaRPr lang="es-ES" sz="6600" dirty="0"/>
          </a:p>
        </p:txBody>
      </p:sp>
      <p:sp>
        <p:nvSpPr>
          <p:cNvPr id="6" name="TextBox 5"/>
          <p:cNvSpPr txBox="1"/>
          <p:nvPr/>
        </p:nvSpPr>
        <p:spPr>
          <a:xfrm>
            <a:off x="3393691" y="5381163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err="1" smtClean="0"/>
              <a:t>Versatilidad</a:t>
            </a:r>
            <a:endParaRPr lang="es-ES" sz="6600" dirty="0"/>
          </a:p>
        </p:txBody>
      </p:sp>
      <p:sp>
        <p:nvSpPr>
          <p:cNvPr id="7" name="TextBox 6"/>
          <p:cNvSpPr txBox="1"/>
          <p:nvPr/>
        </p:nvSpPr>
        <p:spPr>
          <a:xfrm>
            <a:off x="1112837" y="3713537"/>
            <a:ext cx="90678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err="1" smtClean="0"/>
              <a:t>Multijugador</a:t>
            </a:r>
            <a:endParaRPr lang="es-ES" sz="6600" dirty="0"/>
          </a:p>
        </p:txBody>
      </p:sp>
    </p:spTree>
    <p:extLst>
      <p:ext uri="{BB962C8B-B14F-4D97-AF65-F5344CB8AC3E}">
        <p14:creationId xmlns:p14="http://schemas.microsoft.com/office/powerpoint/2010/main" val="36176099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237" y="811385"/>
            <a:ext cx="1098069" cy="12038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4355" y1="65868" x2="6774" y2="24551"/>
                        <a14:foregroundMark x1="13710" y1="65868" x2="6290" y2="33533"/>
                        <a14:foregroundMark x1="25968" y1="67066" x2="23710" y2="34132"/>
                        <a14:foregroundMark x1="40000" y1="74850" x2="44355" y2="31737"/>
                        <a14:foregroundMark x1="52419" y1="17964" x2="56452" y2="20359"/>
                        <a14:foregroundMark x1="89839" y1="80240" x2="88871" y2="19162"/>
                        <a14:foregroundMark x1="85000" y1="71257" x2="83065" y2="32335"/>
                        <a14:foregroundMark x1="85484" y1="26946" x2="95161" y2="29341"/>
                        <a14:foregroundMark x1="86290" y1="22156" x2="91613" y2="19760"/>
                        <a14:foregroundMark x1="87581" y1="15569" x2="87903" y2="17964"/>
                        <a14:foregroundMark x1="83548" y1="31138" x2="85323" y2="25150"/>
                        <a14:foregroundMark x1="81452" y1="48503" x2="81774" y2="59880"/>
                        <a14:foregroundMark x1="82419" y1="62874" x2="85645" y2="74850"/>
                        <a14:foregroundMark x1="91129" y1="78443" x2="94355" y2="73653"/>
                        <a14:foregroundMark x1="95806" y1="68862" x2="97903" y2="53892"/>
                        <a14:foregroundMark x1="56774" y1="25150" x2="56774" y2="29341"/>
                        <a14:backgroundMark x1="54194" y1="22754" x2="56452" y2="311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3195" y="4781618"/>
            <a:ext cx="5416069" cy="145884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353" y="601662"/>
            <a:ext cx="1352753" cy="162330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45802" y1="92875" x2="50891" y2="8142"/>
                        <a14:foregroundMark x1="90840" y1="51654" x2="7379" y2="51145"/>
                        <a14:foregroundMark x1="7379" y1="48855" x2="48346" y2="6361"/>
                        <a14:foregroundMark x1="51145" y1="9160" x2="89567" y2="52163"/>
                        <a14:foregroundMark x1="92621" y1="54962" x2="46310" y2="94656"/>
                        <a14:foregroundMark x1="46310" y1="91858" x2="6616" y2="50127"/>
                        <a14:foregroundMark x1="19593" y1="82188" x2="17303" y2="16285"/>
                        <a14:foregroundMark x1="18321" y1="16539" x2="76845" y2="16539"/>
                        <a14:foregroundMark x1="76845" y1="17303" x2="80407" y2="81679"/>
                        <a14:foregroundMark x1="4071" y1="50891" x2="15267" y2="78117"/>
                        <a14:foregroundMark x1="6107" y1="45038" x2="14758" y2="17557"/>
                        <a14:foregroundMark x1="22646" y1="15267" x2="44275" y2="5089"/>
                        <a14:foregroundMark x1="53181" y1="5344" x2="74300" y2="13486"/>
                        <a14:foregroundMark x1="94148" y1="54962" x2="76845" y2="15267"/>
                        <a14:foregroundMark x1="20611" y1="14504" x2="38677" y2="5598"/>
                        <a14:foregroundMark x1="60814" y1="4071" x2="83715" y2="20865"/>
                        <a14:foregroundMark x1="86514" y1="24173" x2="95674" y2="44020"/>
                        <a14:foregroundMark x1="20865" y1="12977" x2="34860" y2="6107"/>
                        <a14:foregroundMark x1="84224" y1="19084" x2="68702" y2="6870"/>
                        <a14:foregroundMark x1="29517" y1="7379" x2="36132" y2="5089"/>
                        <a14:foregroundMark x1="41476" y1="4071" x2="53944" y2="3562"/>
                        <a14:backgroundMark x1="1272" y1="63613" x2="4071" y2="4580"/>
                        <a14:backgroundMark x1="98728" y1="64377" x2="98728" y2="33842"/>
                        <a14:backgroundMark x1="26463" y1="2036" x2="70483" y2="1527"/>
                        <a14:backgroundMark x1="98219" y1="32316" x2="74046" y2="203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018" y="669596"/>
            <a:ext cx="1262819" cy="126281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>
                        <a14:foregroundMark x1="15700" y1="50200" x2="15700" y2="50200"/>
                        <a14:foregroundMark x1="47600" y1="21100" x2="47600" y2="21100"/>
                        <a14:foregroundMark x1="82900" y1="42000" x2="82900" y2="4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8837" y="2760175"/>
            <a:ext cx="1456657" cy="14566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0823" y="3058446"/>
            <a:ext cx="1499556" cy="887668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8120160" y="2772681"/>
            <a:ext cx="21366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</a:rPr>
              <a:t>?</a:t>
            </a:r>
            <a:endParaRPr lang="en-US" sz="80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D3896"/>
            </a:gs>
            <a:gs pos="100000">
              <a:srgbClr val="1CF9FC">
                <a:lumMod val="100000"/>
              </a:srgb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Qué es un videojueg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274638" y="1709991"/>
            <a:ext cx="11887200" cy="4530471"/>
          </a:xfrm>
        </p:spPr>
        <p:txBody>
          <a:bodyPr>
            <a:normAutofit/>
          </a:bodyPr>
          <a:lstStyle/>
          <a:p>
            <a:r>
              <a:rPr lang="es-ES" sz="2800" dirty="0" smtClean="0"/>
              <a:t>Es un programa de ordenador</a:t>
            </a:r>
          </a:p>
          <a:p>
            <a:r>
              <a:rPr lang="es-ES" sz="2800" dirty="0" smtClean="0"/>
              <a:t>Es un bucle constante que se ejecuta con mucha frecuencia</a:t>
            </a:r>
          </a:p>
          <a:p>
            <a:pPr marL="980649" lvl="1" indent="-514350">
              <a:buFont typeface="+mj-lt"/>
              <a:buAutoNum type="arabicPeriod"/>
            </a:pPr>
            <a:r>
              <a:rPr lang="es-ES" sz="2800" dirty="0" smtClean="0"/>
              <a:t>Leer input</a:t>
            </a:r>
          </a:p>
          <a:p>
            <a:pPr marL="980649" lvl="1" indent="-514350">
              <a:buFont typeface="+mj-lt"/>
              <a:buAutoNum type="arabicPeriod"/>
            </a:pPr>
            <a:r>
              <a:rPr lang="es-ES" sz="2800" dirty="0" smtClean="0"/>
              <a:t>Hacer cálculos</a:t>
            </a:r>
          </a:p>
          <a:p>
            <a:pPr marL="980649" lvl="1" indent="-514350">
              <a:buFont typeface="+mj-lt"/>
              <a:buAutoNum type="arabicPeriod"/>
            </a:pPr>
            <a:r>
              <a:rPr lang="es-ES" sz="2800" dirty="0" smtClean="0"/>
              <a:t>Mostrar output</a:t>
            </a:r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237" y="677862"/>
            <a:ext cx="5753100" cy="38385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5037" y="2354262"/>
            <a:ext cx="3886881" cy="3886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43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858038" y="4106862"/>
            <a:ext cx="3244221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3200" dirty="0">
                <a:solidFill>
                  <a:schemeClr val="bg1"/>
                </a:solidFill>
                <a:latin typeface="Segoe UI" panose="020B0502040204020203" pitchFamily="34" charset="0"/>
              </a:rPr>
              <a:t>c</a:t>
            </a:r>
            <a:r>
              <a:rPr lang="es-ES" sz="3200" dirty="0" smtClean="0">
                <a:solidFill>
                  <a:schemeClr val="bg1"/>
                </a:solidFill>
                <a:latin typeface="Segoe UI" panose="020B0502040204020203" pitchFamily="34" charset="0"/>
              </a:rPr>
              <a:t>lockwork.js.org</a:t>
            </a:r>
          </a:p>
          <a:p>
            <a:pPr algn="ctr"/>
            <a:endParaRPr lang="es-ES" sz="3200" dirty="0">
              <a:solidFill>
                <a:schemeClr val="bg1"/>
              </a:solidFill>
              <a:latin typeface="Segoe UI" panose="020B0502040204020203" pitchFamily="34" charset="0"/>
            </a:endParaRPr>
          </a:p>
          <a:p>
            <a:pPr algn="ctr"/>
            <a:r>
              <a:rPr lang="es-ES" sz="3200" dirty="0">
                <a:solidFill>
                  <a:schemeClr val="bg1"/>
                </a:solidFill>
                <a:latin typeface="Segoe UI" panose="020B0502040204020203" pitchFamily="34" charset="0"/>
              </a:rPr>
              <a:t>s</a:t>
            </a:r>
            <a:r>
              <a:rPr lang="es-ES" sz="3200" dirty="0" smtClean="0">
                <a:solidFill>
                  <a:schemeClr val="bg1"/>
                </a:solidFill>
                <a:latin typeface="Segoe UI" panose="020B0502040204020203" pitchFamily="34" charset="0"/>
              </a:rPr>
              <a:t>pritesheet.js.org</a:t>
            </a:r>
            <a:endParaRPr lang="en-US" sz="3200" dirty="0" smtClean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6778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274638" y="1709991"/>
            <a:ext cx="11887200" cy="53553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4400" dirty="0" err="1" smtClean="0"/>
              <a:t>While</a:t>
            </a:r>
            <a:r>
              <a:rPr lang="es-ES" sz="4400" dirty="0" smtClean="0"/>
              <a:t>(true){</a:t>
            </a:r>
          </a:p>
          <a:p>
            <a:pPr marL="0" indent="0">
              <a:buNone/>
            </a:pPr>
            <a:r>
              <a:rPr lang="es-ES" sz="4400" dirty="0" smtClean="0"/>
              <a:t>	…</a:t>
            </a:r>
          </a:p>
          <a:p>
            <a:pPr marL="0" indent="0">
              <a:buNone/>
            </a:pPr>
            <a:r>
              <a:rPr lang="es-ES" sz="4400" dirty="0" smtClean="0"/>
              <a:t>}</a:t>
            </a:r>
            <a:endParaRPr lang="en-US" sz="4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2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618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274638" y="1709991"/>
            <a:ext cx="11887200" cy="53553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4400" dirty="0" err="1" smtClean="0"/>
              <a:t>While</a:t>
            </a:r>
            <a:r>
              <a:rPr lang="es-ES" sz="4400" dirty="0" smtClean="0"/>
              <a:t>(true){</a:t>
            </a:r>
          </a:p>
          <a:p>
            <a:pPr marL="0" indent="0">
              <a:buNone/>
            </a:pPr>
            <a:r>
              <a:rPr lang="es-ES" sz="4400" dirty="0" smtClean="0"/>
              <a:t>	</a:t>
            </a:r>
            <a:r>
              <a:rPr lang="es-ES" sz="4400" dirty="0" err="1" smtClean="0"/>
              <a:t>leerInput</a:t>
            </a:r>
            <a:r>
              <a:rPr lang="es-ES" sz="4400" dirty="0" smtClean="0"/>
              <a:t>();</a:t>
            </a:r>
          </a:p>
          <a:p>
            <a:pPr marL="0" indent="0">
              <a:buNone/>
            </a:pPr>
            <a:r>
              <a:rPr lang="es-ES" sz="4400" dirty="0" smtClean="0"/>
              <a:t>	</a:t>
            </a:r>
            <a:r>
              <a:rPr lang="es-ES" sz="4400" dirty="0" err="1" smtClean="0"/>
              <a:t>calcularCosas</a:t>
            </a:r>
            <a:r>
              <a:rPr lang="es-ES" sz="4400" dirty="0" smtClean="0"/>
              <a:t>();</a:t>
            </a:r>
          </a:p>
          <a:p>
            <a:pPr marL="0" indent="0">
              <a:buNone/>
            </a:pPr>
            <a:r>
              <a:rPr lang="es-ES" sz="4400" dirty="0"/>
              <a:t>	</a:t>
            </a:r>
            <a:r>
              <a:rPr lang="es-ES" sz="4400" dirty="0" err="1" smtClean="0"/>
              <a:t>dibujarPantalla</a:t>
            </a:r>
            <a:r>
              <a:rPr lang="es-ES" sz="4400" dirty="0" smtClean="0"/>
              <a:t>();</a:t>
            </a:r>
          </a:p>
          <a:p>
            <a:pPr marL="0" indent="0">
              <a:buNone/>
            </a:pPr>
            <a:r>
              <a:rPr lang="es-ES" sz="4400" dirty="0" smtClean="0"/>
              <a:t>}</a:t>
            </a:r>
            <a:endParaRPr lang="en-US" sz="4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2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9099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2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637" y="1986331"/>
            <a:ext cx="5257800" cy="3943350"/>
          </a:xfrm>
        </p:spPr>
      </p:pic>
    </p:spTree>
    <p:extLst>
      <p:ext uri="{BB962C8B-B14F-4D97-AF65-F5344CB8AC3E}">
        <p14:creationId xmlns:p14="http://schemas.microsoft.com/office/powerpoint/2010/main" val="186632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637" y="2498990"/>
            <a:ext cx="2838835" cy="189908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2498990"/>
            <a:ext cx="2209800" cy="263181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9037" y="2282757"/>
            <a:ext cx="1524003" cy="2115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30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4492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6837" y="1668462"/>
            <a:ext cx="63500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06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251" y="1736725"/>
            <a:ext cx="1261872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62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9437" y="373062"/>
            <a:ext cx="8705533" cy="1537069"/>
          </a:xfrm>
        </p:spPr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¿Cómo podemos hacer uno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637" y="1889350"/>
            <a:ext cx="5638800" cy="423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72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12a172fe-0250-434a-85cf-03b10810c5e5"/>
    <ds:schemaRef ds:uri="http://www.w3.org/XML/1998/namespace"/>
    <ds:schemaRef ds:uri="http://schemas.microsoft.com/office/infopath/2007/PartnerControls"/>
    <ds:schemaRef ds:uri="230e9df3-be65-4c73-a93b-d1236ebd677e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826</TotalTime>
  <Words>175</Words>
  <Application>Microsoft Office PowerPoint</Application>
  <PresentationFormat>Custom</PresentationFormat>
  <Paragraphs>76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6" baseType="lpstr">
      <vt:lpstr>Arial</vt:lpstr>
      <vt:lpstr>Arial Black</vt:lpstr>
      <vt:lpstr>Avenir LT Pro 45 Book</vt:lpstr>
      <vt:lpstr>Century Gothic</vt:lpstr>
      <vt:lpstr>Consolas</vt:lpstr>
      <vt:lpstr>ＭＳ Ｐゴシック</vt:lpstr>
      <vt:lpstr>Segoe UI</vt:lpstr>
      <vt:lpstr>Segoe UI Light</vt:lpstr>
      <vt:lpstr>Wingdings 3</vt:lpstr>
      <vt:lpstr>5-30629_Build_Template_WHITE</vt:lpstr>
      <vt:lpstr>1_5-30629_Build_Template_DARK BLUE</vt:lpstr>
      <vt:lpstr>1_5-30629_Build_Template_WHITE</vt:lpstr>
      <vt:lpstr>3_5-30629_Build_Template_WHITE</vt:lpstr>
      <vt:lpstr>Slice</vt:lpstr>
      <vt:lpstr>think-cell Slide</vt:lpstr>
      <vt:lpstr>PowerPoint Presentation</vt:lpstr>
      <vt:lpstr>¿Qué es un videojueg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podemos hacer uno?</vt:lpstr>
      <vt:lpstr>¿Cómo SE USA CLOCKWORK.JS?</vt:lpstr>
      <vt:lpstr>Presets</vt:lpstr>
      <vt:lpstr>NIVELES</vt:lpstr>
      <vt:lpstr>SPRITESHEET.J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01</cp:revision>
  <dcterms:created xsi:type="dcterms:W3CDTF">2015-04-29T17:53:46Z</dcterms:created>
  <dcterms:modified xsi:type="dcterms:W3CDTF">2015-10-08T20:2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